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sldIdLst>
    <p:sldId id="257" r:id="rId2"/>
    <p:sldId id="266" r:id="rId3"/>
    <p:sldId id="256" r:id="rId4"/>
    <p:sldId id="259" r:id="rId5"/>
    <p:sldId id="258" r:id="rId6"/>
    <p:sldId id="261" r:id="rId7"/>
    <p:sldId id="262" r:id="rId8"/>
    <p:sldId id="264" r:id="rId9"/>
    <p:sldId id="260" r:id="rId10"/>
    <p:sldId id="265" r:id="rId11"/>
    <p:sldId id="263" r:id="rId12"/>
  </p:sldIdLst>
  <p:sldSz cx="9144000" cy="6858000" type="screen4x3"/>
  <p:notesSz cx="9309100" cy="7023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ngoing" id="{2B981ACF-6851-4E96-AEEF-053F240DF0AE}">
          <p14:sldIdLst>
            <p14:sldId id="257"/>
            <p14:sldId id="266"/>
          </p14:sldIdLst>
        </p14:section>
        <p14:section name="done" id="{50A67B90-3DCA-4D5F-B860-77FD6A1F58D7}">
          <p14:sldIdLst>
            <p14:sldId id="256"/>
            <p14:sldId id="259"/>
            <p14:sldId id="258"/>
            <p14:sldId id="261"/>
            <p14:sldId id="262"/>
            <p14:sldId id="264"/>
            <p14:sldId id="260"/>
            <p14:sldId id="265"/>
            <p14:sldId id="2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320" userDrawn="1">
          <p15:clr>
            <a:srgbClr val="A4A3A4"/>
          </p15:clr>
        </p15:guide>
        <p15:guide id="2" orient="horz" pos="2184">
          <p15:clr>
            <a:srgbClr val="A4A3A4"/>
          </p15:clr>
        </p15:guide>
        <p15:guide id="3" pos="1896">
          <p15:clr>
            <a:srgbClr val="A4A3A4"/>
          </p15:clr>
        </p15:guide>
        <p15:guide id="4" pos="3864">
          <p15:clr>
            <a:srgbClr val="A4A3A4"/>
          </p15:clr>
        </p15:guide>
        <p15:guide id="5" orient="horz" pos="432">
          <p15:clr>
            <a:srgbClr val="A4A3A4"/>
          </p15:clr>
        </p15:guide>
        <p15:guide id="6" orient="horz" pos="30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12">
          <p15:clr>
            <a:srgbClr val="A4A3A4"/>
          </p15:clr>
        </p15:guide>
        <p15:guide id="2" pos="29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>
        <p:scale>
          <a:sx n="107" d="100"/>
          <a:sy n="107" d="100"/>
        </p:scale>
        <p:origin x="662" y="-125"/>
      </p:cViewPr>
      <p:guideLst>
        <p:guide orient="horz" pos="1320"/>
        <p:guide orient="horz" pos="2184"/>
        <p:guide pos="1896"/>
        <p:guide pos="3864"/>
        <p:guide orient="horz" pos="432"/>
        <p:guide orient="horz" pos="300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212"/>
        <p:guide pos="29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11" Type="http://schemas.openxmlformats.org/officeDocument/2006/relationships/image" Target="../media/image5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8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0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D13A486-2D65-4F86-9F6D-CA326B857CE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144000" cy="6424766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9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37019D0-A5ED-FD4B-AEE1-74EB27150FF0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12064" y="3710189"/>
            <a:ext cx="411480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DAB146-7CA5-3045-9FD9-49A2E4FAFDC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12064" y="5631866"/>
            <a:ext cx="4114800" cy="577500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3A92B1-D1A7-664F-A000-1B6F86196BC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395865E-24F0-4C4A-A9F7-9FE1D08AEA7F}"/>
              </a:ext>
            </a:extLst>
          </p:cNvPr>
          <p:cNvSpPr/>
          <p:nvPr/>
        </p:nvSpPr>
        <p:spPr>
          <a:xfrm>
            <a:off x="-721479" y="1015705"/>
            <a:ext cx="45719" cy="541939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05419F-79CA-41BD-8D1E-58469985F3F5}"/>
              </a:ext>
            </a:extLst>
          </p:cNvPr>
          <p:cNvSpPr/>
          <p:nvPr/>
        </p:nvSpPr>
        <p:spPr>
          <a:xfrm>
            <a:off x="5302213" y="999875"/>
            <a:ext cx="45719" cy="541939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787F34-011E-4180-9FE8-60E2F75ECCE4}"/>
              </a:ext>
            </a:extLst>
          </p:cNvPr>
          <p:cNvGrpSpPr/>
          <p:nvPr/>
        </p:nvGrpSpPr>
        <p:grpSpPr>
          <a:xfrm>
            <a:off x="5336717" y="-8313"/>
            <a:ext cx="3807283" cy="6432134"/>
            <a:chOff x="5336717" y="-8313"/>
            <a:chExt cx="3807283" cy="6432134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5345D9-709E-4C88-859F-E151D31EC90E}"/>
                </a:ext>
              </a:extLst>
            </p:cNvPr>
            <p:cNvGrpSpPr/>
            <p:nvPr/>
          </p:nvGrpSpPr>
          <p:grpSpPr>
            <a:xfrm>
              <a:off x="5336717" y="999875"/>
              <a:ext cx="3807283" cy="5423946"/>
              <a:chOff x="5336717" y="999875"/>
              <a:chExt cx="3807283" cy="5423946"/>
            </a:xfrm>
          </p:grpSpPr>
          <p:pic>
            <p:nvPicPr>
              <p:cNvPr id="20" name="Content Placeholder 5">
                <a:extLst>
                  <a:ext uri="{FF2B5EF4-FFF2-40B4-BE49-F238E27FC236}">
                    <a16:creationId xmlns:a16="http://schemas.microsoft.com/office/drawing/2014/main" id="{0AAE4957-2311-4A5B-B654-D77995E54D3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1199" t="16593" r="18774" b="7565"/>
              <a:stretch/>
            </p:blipFill>
            <p:spPr>
              <a:xfrm>
                <a:off x="5336717" y="999875"/>
                <a:ext cx="3807283" cy="5421672"/>
              </a:xfrm>
              <a:prstGeom prst="rect">
                <a:avLst/>
              </a:prstGeom>
            </p:spPr>
          </p:pic>
          <p:sp>
            <p:nvSpPr>
              <p:cNvPr id="21" name="Right Triangle 20">
                <a:extLst>
                  <a:ext uri="{FF2B5EF4-FFF2-40B4-BE49-F238E27FC236}">
                    <a16:creationId xmlns:a16="http://schemas.microsoft.com/office/drawing/2014/main" id="{6B1C5B7A-7D3B-49D9-BC9C-25E66A13CA41}"/>
                  </a:ext>
                </a:extLst>
              </p:cNvPr>
              <p:cNvSpPr/>
              <p:nvPr/>
            </p:nvSpPr>
            <p:spPr>
              <a:xfrm rot="10800000" flipH="1">
                <a:off x="5336717" y="1002149"/>
                <a:ext cx="1455990" cy="5421672"/>
              </a:xfrm>
              <a:prstGeom prst="rtTriangle">
                <a:avLst/>
              </a:prstGeom>
              <a:solidFill>
                <a:srgbClr val="E6E6E6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200" dirty="0" err="1"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9F4AAE1-5A77-41BA-808A-592D4B25A2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11496"/>
            <a:stretch/>
          </p:blipFill>
          <p:spPr>
            <a:xfrm>
              <a:off x="7056120" y="-8313"/>
              <a:ext cx="2086609" cy="1024018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F57671B-E708-4E84-9AFF-F5E105964B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rot="889043">
              <a:off x="6913075" y="26837"/>
              <a:ext cx="383129" cy="1124925"/>
            </a:xfrm>
            <a:prstGeom prst="rect">
              <a:avLst/>
            </a:prstGeom>
          </p:spPr>
        </p:pic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201C6FCC-EF40-4937-B97D-B5983580F105}"/>
              </a:ext>
            </a:extLst>
          </p:cNvPr>
          <p:cNvSpPr/>
          <p:nvPr/>
        </p:nvSpPr>
        <p:spPr>
          <a:xfrm>
            <a:off x="5131308" y="994381"/>
            <a:ext cx="209004" cy="5419398"/>
          </a:xfrm>
          <a:prstGeom prst="rect">
            <a:avLst/>
          </a:prstGeom>
          <a:solidFill>
            <a:srgbClr val="E6E6E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34D233-F816-4033-80D8-96226F7F1A4D}"/>
              </a:ext>
            </a:extLst>
          </p:cNvPr>
          <p:cNvSpPr txBox="1"/>
          <p:nvPr/>
        </p:nvSpPr>
        <p:spPr>
          <a:xfrm>
            <a:off x="416653" y="5225182"/>
            <a:ext cx="36640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Pavement Analysis &amp; Design – MN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E54B812-2722-0744-9345-3F01F6ADAB30}"/>
              </a:ext>
            </a:extLst>
          </p:cNvPr>
          <p:cNvSpPr/>
          <p:nvPr/>
        </p:nvSpPr>
        <p:spPr>
          <a:xfrm>
            <a:off x="0" y="-9144"/>
            <a:ext cx="9144000" cy="630936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678" y="109728"/>
            <a:ext cx="83534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537349-7310-B044-851F-0CE3F0D0F09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lum bright="100000" contrast="-100000"/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90" y="100584"/>
            <a:ext cx="578612" cy="4058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4A7728-080A-084F-9574-95AC715091D2}"/>
              </a:ext>
            </a:extLst>
          </p:cNvPr>
          <p:cNvSpPr/>
          <p:nvPr/>
        </p:nvSpPr>
        <p:spPr>
          <a:xfrm>
            <a:off x="0" y="-7089"/>
            <a:ext cx="9144000" cy="630936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678" y="109728"/>
            <a:ext cx="83534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620133-B656-3B44-AD89-AC6A20B509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lum bright="100000" contrast="-100000"/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90" y="100584"/>
            <a:ext cx="578612" cy="4058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3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514B2B9B-2570-264C-BAED-5407D10DB91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12064" y="5273647"/>
            <a:ext cx="4114800" cy="577500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D866CA-770E-EB46-B6FB-B0DE0FE76647}"/>
              </a:ext>
            </a:extLst>
          </p:cNvPr>
          <p:cNvCxnSpPr>
            <a:cxnSpLocks/>
          </p:cNvCxnSpPr>
          <p:nvPr/>
        </p:nvCxnSpPr>
        <p:spPr>
          <a:xfrm>
            <a:off x="512064" y="3610958"/>
            <a:ext cx="3213269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90D0FD4-44B9-404E-94CA-778F4818CB5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099"/>
          <a:stretch/>
        </p:blipFill>
        <p:spPr>
          <a:xfrm>
            <a:off x="3779520" y="721657"/>
            <a:ext cx="5289417" cy="498975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B5CEA37-4764-E447-A89D-FE7C6D8EDC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064" y="2611869"/>
            <a:ext cx="2314257" cy="7813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15150FC-1BA2-5B46-A46B-9C65207B4C5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187FC1F-648E-4A43-8B8A-BE6FF9DB826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314" y="6459063"/>
            <a:ext cx="2820447" cy="32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1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2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253678" y="145235"/>
            <a:ext cx="8353424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253678" y="1056419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E572C71-5614-2A4D-8705-D1984E097A22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D3AC596E-8233-6843-8073-142534F4642D}"/>
              </a:ext>
            </a:extLst>
          </p:cNvPr>
          <p:cNvSpPr txBox="1"/>
          <p:nvPr/>
        </p:nvSpPr>
        <p:spPr>
          <a:xfrm>
            <a:off x="256032" y="6419273"/>
            <a:ext cx="4267200" cy="43872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Pavement Analysis &amp; Design Branch – M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2BB209-0D08-B14D-A32E-7ABCAB106375}"/>
              </a:ext>
            </a:extLst>
          </p:cNvPr>
          <p:cNvSpPr txBox="1"/>
          <p:nvPr/>
        </p:nvSpPr>
        <p:spPr>
          <a:xfrm>
            <a:off x="6995880" y="6419273"/>
            <a:ext cx="1634889" cy="42831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CAAFC295-E4AC-D34C-A518-2E03C6EB7786}" type="datetime4">
              <a:rPr lang="en-US" sz="1200" smtClean="0">
                <a:solidFill>
                  <a:schemeClr val="bg1"/>
                </a:solidFill>
                <a:latin typeface="Franklin Gothic Book" pitchFamily="34" charset="0"/>
              </a:rPr>
              <a:t>November 2, 2021</a:t>
            </a:fld>
            <a:endParaRPr lang="en-US" sz="12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5718C2-23D1-49B6-A078-B09A0CE74EB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886826" y="6556248"/>
            <a:ext cx="257175" cy="177300"/>
          </a:xfrm>
          <a:prstGeom prst="rect">
            <a:avLst/>
          </a:prstGeom>
          <a:solidFill>
            <a:srgbClr val="0B1F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5E3FF44-788D-4C79-AD4C-9A6777E7A29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8870950" y="6574536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54" r:id="rId3"/>
    <p:sldLayoutId id="2147483661" r:id="rId4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b="0" kern="1200" dirty="0" smtClean="0">
          <a:solidFill>
            <a:srgbClr val="205588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Wingdings" pitchFamily="2" charset="2"/>
        <a:buChar char="§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»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EC2E2-EAE5-4E85-A8C5-27023B48A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No function to select district from the map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0C655F2-8962-4E7F-888F-A49FDD57502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86102" y="1055688"/>
            <a:ext cx="6613046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6650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37421-4ABB-407F-86D0-23A27750F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7. Program still works without having any input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A7913F6-F7D3-4C47-B524-002D6E2706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2016147"/>
            <a:ext cx="4571761" cy="297386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539320F-E331-4251-9E7B-525E8BD1A5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1762" y="1824559"/>
            <a:ext cx="4502570" cy="320943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8EEB2B5-5D22-43E7-8FFB-00210D343BC3}"/>
              </a:ext>
            </a:extLst>
          </p:cNvPr>
          <p:cNvSpPr txBox="1"/>
          <p:nvPr/>
        </p:nvSpPr>
        <p:spPr>
          <a:xfrm>
            <a:off x="653143" y="1062446"/>
            <a:ext cx="55691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Error messages should be popped up if the designer does not input the data.</a:t>
            </a:r>
          </a:p>
        </p:txBody>
      </p:sp>
    </p:spTree>
    <p:extLst>
      <p:ext uri="{BB962C8B-B14F-4D97-AF65-F5344CB8AC3E}">
        <p14:creationId xmlns:p14="http://schemas.microsoft.com/office/powerpoint/2010/main" val="7715852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EC211D-48A5-4044-8C5B-837EDBCCA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0. Print – 2 page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3D873F7-6DD4-458A-BEC7-0003C16E6F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4000" y="1544807"/>
            <a:ext cx="8477250" cy="420336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EFC49C0-096B-4DAB-B647-18BC45E14156}"/>
              </a:ext>
            </a:extLst>
          </p:cNvPr>
          <p:cNvSpPr txBox="1"/>
          <p:nvPr/>
        </p:nvSpPr>
        <p:spPr>
          <a:xfrm>
            <a:off x="653143" y="1062446"/>
            <a:ext cx="38138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Should be 1 page – no color for base, subgrade, …</a:t>
            </a:r>
          </a:p>
        </p:txBody>
      </p:sp>
    </p:spTree>
    <p:extLst>
      <p:ext uri="{BB962C8B-B14F-4D97-AF65-F5344CB8AC3E}">
        <p14:creationId xmlns:p14="http://schemas.microsoft.com/office/powerpoint/2010/main" val="2963351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0EB36-D571-425A-9C43-74B40817C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1. Save Input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E04D121-AA75-4830-9615-AED0AC8EAAE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4000" y="1825811"/>
            <a:ext cx="8477250" cy="364135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38C49E2-5652-4E35-A35E-21A70872D84F}"/>
              </a:ext>
            </a:extLst>
          </p:cNvPr>
          <p:cNvSpPr txBox="1"/>
          <p:nvPr/>
        </p:nvSpPr>
        <p:spPr>
          <a:xfrm>
            <a:off x="653143" y="1062446"/>
            <a:ext cx="54264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The designers should be able to see their results sheet from the saved file.</a:t>
            </a:r>
          </a:p>
        </p:txBody>
      </p:sp>
    </p:spTree>
    <p:extLst>
      <p:ext uri="{BB962C8B-B14F-4D97-AF65-F5344CB8AC3E}">
        <p14:creationId xmlns:p14="http://schemas.microsoft.com/office/powerpoint/2010/main" val="245647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3A1594-9CE6-4F14-B424-A9B3C941A62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xCRCP-ME Interface Revie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08D6BA-1FC7-4696-A3DB-CFC14C7C97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11/02/2021</a:t>
            </a:r>
          </a:p>
        </p:txBody>
      </p:sp>
    </p:spTree>
    <p:extLst>
      <p:ext uri="{BB962C8B-B14F-4D97-AF65-F5344CB8AC3E}">
        <p14:creationId xmlns:p14="http://schemas.microsoft.com/office/powerpoint/2010/main" val="14090717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210E67-E850-4C9F-BAD1-13C503484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Box Posi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7C9681-DFB5-47A9-B505-70251503CD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5999" y="685800"/>
            <a:ext cx="4572000" cy="28709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79F654-1E58-4C0B-91A3-F828120AB0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4611" y="3608594"/>
            <a:ext cx="6794775" cy="3267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3983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842E8-A068-44B3-8000-4F9A642C8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Still shows highway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6EDE476-03CD-4D55-9A1C-6C8F5A48FDE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50936" t="791" b="-1"/>
          <a:stretch/>
        </p:blipFill>
        <p:spPr>
          <a:xfrm>
            <a:off x="698177" y="1180095"/>
            <a:ext cx="7908925" cy="4497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225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60ABCB-ACB9-4734-8594-8C5D836B37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56274"/>
            <a:ext cx="9144000" cy="59454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9B8F9C6-C832-450C-AD0B-205A5FB61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8. Subgrade Treat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AC7F419-FC68-42D4-A9E0-EB3D03C04227}"/>
              </a:ext>
            </a:extLst>
          </p:cNvPr>
          <p:cNvSpPr txBox="1"/>
          <p:nvPr/>
        </p:nvSpPr>
        <p:spPr>
          <a:xfrm>
            <a:off x="5302338" y="623947"/>
            <a:ext cx="3754576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Dropdown menu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Cement treated subgrad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Lime treated subgrad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Lime-cement treated subgrad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Lime-fly ash treated subgrad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Fly ash treated subgrad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Select Fill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User Input (such as compacted existing roadbed)</a:t>
            </a:r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0F2018C9-580B-4A44-AA43-E6180BDAE0C6}"/>
              </a:ext>
            </a:extLst>
          </p:cNvPr>
          <p:cNvSpPr/>
          <p:nvPr/>
        </p:nvSpPr>
        <p:spPr>
          <a:xfrm rot="10800000">
            <a:off x="6134098" y="2193606"/>
            <a:ext cx="391885" cy="1019855"/>
          </a:xfrm>
          <a:prstGeom prst="downArrow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6A3D89-6532-46AE-8880-CA1A05E280DB}"/>
              </a:ext>
            </a:extLst>
          </p:cNvPr>
          <p:cNvSpPr txBox="1"/>
          <p:nvPr/>
        </p:nvSpPr>
        <p:spPr>
          <a:xfrm>
            <a:off x="4894217" y="3653248"/>
            <a:ext cx="4031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o change with respect to PI change (remove logic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58BB024-7C0B-4943-AC23-A187DCA1433E}"/>
              </a:ext>
            </a:extLst>
          </p:cNvPr>
          <p:cNvSpPr/>
          <p:nvPr/>
        </p:nvSpPr>
        <p:spPr>
          <a:xfrm>
            <a:off x="1793966" y="3021874"/>
            <a:ext cx="1367245" cy="28738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0584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D032E6-D8C0-4D3E-8225-7CD534C2E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9. 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1BB81AB-93BC-4403-9C8F-29DCD2B289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00885" y="1055688"/>
            <a:ext cx="7383480" cy="51816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EAAD40C-E2D5-4A6E-B397-617FFB1BA1E9}"/>
              </a:ext>
            </a:extLst>
          </p:cNvPr>
          <p:cNvSpPr/>
          <p:nvPr/>
        </p:nvSpPr>
        <p:spPr>
          <a:xfrm>
            <a:off x="950832" y="2865971"/>
            <a:ext cx="564459" cy="24299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190DB4A-B6EF-4F61-BCF0-4B3DD89F9334}"/>
              </a:ext>
            </a:extLst>
          </p:cNvPr>
          <p:cNvSpPr txBox="1"/>
          <p:nvPr/>
        </p:nvSpPr>
        <p:spPr>
          <a:xfrm>
            <a:off x="542925" y="2800351"/>
            <a:ext cx="11448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No back ic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298B0F-0742-4358-9AE1-4F66C11AE7DD}"/>
              </a:ext>
            </a:extLst>
          </p:cNvPr>
          <p:cNvSpPr txBox="1"/>
          <p:nvPr/>
        </p:nvSpPr>
        <p:spPr>
          <a:xfrm>
            <a:off x="3735977" y="2057400"/>
            <a:ext cx="13324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o inf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2B9C25E-858D-4503-A7AA-B19E941255C5}"/>
              </a:ext>
            </a:extLst>
          </p:cNvPr>
          <p:cNvSpPr txBox="1"/>
          <p:nvPr/>
        </p:nvSpPr>
        <p:spPr>
          <a:xfrm>
            <a:off x="5068389" y="4148683"/>
            <a:ext cx="13324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Subgrad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BB37D13-EB64-4A7F-B78E-18B3642D37DA}"/>
              </a:ext>
            </a:extLst>
          </p:cNvPr>
          <p:cNvSpPr/>
          <p:nvPr/>
        </p:nvSpPr>
        <p:spPr>
          <a:xfrm>
            <a:off x="5068389" y="3875314"/>
            <a:ext cx="905691" cy="73152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72309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FBFAF-9045-4CE7-888A-7EA2A89B2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. Should be blank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D5C1A99-F127-4528-BA1A-FABBEF8805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4000" y="1130770"/>
            <a:ext cx="8477250" cy="5031436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F0E410D8-8EEA-4012-AAD8-D2D887E54C83}"/>
              </a:ext>
            </a:extLst>
          </p:cNvPr>
          <p:cNvSpPr/>
          <p:nvPr/>
        </p:nvSpPr>
        <p:spPr>
          <a:xfrm>
            <a:off x="5312227" y="2189977"/>
            <a:ext cx="461555" cy="87544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18983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7B2A4A-50B2-4B56-AF95-803156C6C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. Should be a blank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D2B3FCD-DD13-4042-8BB2-540C8DDCD6E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09753" y="1055688"/>
            <a:ext cx="7965743" cy="518160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B297E9CB-1093-4354-A904-6E49A1F100A6}"/>
              </a:ext>
            </a:extLst>
          </p:cNvPr>
          <p:cNvSpPr/>
          <p:nvPr/>
        </p:nvSpPr>
        <p:spPr>
          <a:xfrm>
            <a:off x="5259977" y="2917371"/>
            <a:ext cx="383177" cy="31350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D2A3DDD-67B3-459B-BC17-9625DB57C58B}"/>
              </a:ext>
            </a:extLst>
          </p:cNvPr>
          <p:cNvSpPr/>
          <p:nvPr/>
        </p:nvSpPr>
        <p:spPr>
          <a:xfrm>
            <a:off x="5259976" y="3489733"/>
            <a:ext cx="383177" cy="31350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503F2D-DDAC-4E0C-95A3-34CBEF44D236}"/>
              </a:ext>
            </a:extLst>
          </p:cNvPr>
          <p:cNvSpPr/>
          <p:nvPr/>
        </p:nvSpPr>
        <p:spPr>
          <a:xfrm>
            <a:off x="5259975" y="4506457"/>
            <a:ext cx="461555" cy="87544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525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NT-Rigid">
  <a:themeElements>
    <a:clrScheme name="Prefinal 5">
      <a:dk1>
        <a:srgbClr val="000000"/>
      </a:dk1>
      <a:lt1>
        <a:srgbClr val="FFFFFF"/>
      </a:lt1>
      <a:dk2>
        <a:srgbClr val="E2E7EB"/>
      </a:dk2>
      <a:lt2>
        <a:srgbClr val="F9EFE0"/>
      </a:lt2>
      <a:accent1>
        <a:srgbClr val="3869A2"/>
      </a:accent1>
      <a:accent2>
        <a:srgbClr val="0F3859"/>
      </a:accent2>
      <a:accent3>
        <a:srgbClr val="CC7B28"/>
      </a:accent3>
      <a:accent4>
        <a:srgbClr val="F4BC46"/>
      </a:accent4>
      <a:accent5>
        <a:srgbClr val="79A03F"/>
      </a:accent5>
      <a:accent6>
        <a:srgbClr val="247F74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FF0000"/>
          </a:solidFill>
        </a:ln>
      </a:spPr>
      <a:bodyPr lIns="0" tIns="0" rIns="0" bIns="0"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NT-Rigid" id="{5B501ADB-1430-459A-9D3B-1F0FBEF4FC55}" vid="{B39EF4AC-2818-48B5-B754-9D8E944B721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31</TotalTime>
  <Words>150</Words>
  <Application>Microsoft Office PowerPoint</Application>
  <PresentationFormat>On-screen Show (4:3)</PresentationFormat>
  <Paragraphs>27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Franklin Gothic Book</vt:lpstr>
      <vt:lpstr>Franklin Gothic Demi</vt:lpstr>
      <vt:lpstr>Franklin Gothic Medium Cond</vt:lpstr>
      <vt:lpstr>Wingdings</vt:lpstr>
      <vt:lpstr>MNT-Rigid</vt:lpstr>
      <vt:lpstr>think-cell Slide</vt:lpstr>
      <vt:lpstr>2. No function to select district from the map</vt:lpstr>
      <vt:lpstr>11. Save Input</vt:lpstr>
      <vt:lpstr>TxCRCP-ME Interface Review</vt:lpstr>
      <vt:lpstr>1. Box Position</vt:lpstr>
      <vt:lpstr>3. Still shows highways</vt:lpstr>
      <vt:lpstr>8. Subgrade Treatment</vt:lpstr>
      <vt:lpstr>9. </vt:lpstr>
      <vt:lpstr>4. Should be blank</vt:lpstr>
      <vt:lpstr>5. Should be a blank</vt:lpstr>
      <vt:lpstr>7. Program still works without having any inputs</vt:lpstr>
      <vt:lpstr>10. Print – 2 pag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n Gil Choi</dc:creator>
  <cp:lastModifiedBy>Nguyen, Ngan V T</cp:lastModifiedBy>
  <cp:revision>9</cp:revision>
  <dcterms:created xsi:type="dcterms:W3CDTF">2021-11-02T16:23:02Z</dcterms:created>
  <dcterms:modified xsi:type="dcterms:W3CDTF">2021-11-03T07:53:09Z</dcterms:modified>
</cp:coreProperties>
</file>